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9" r:id="rId1"/>
    <p:sldMasterId id="2147483650" r:id="rId2"/>
  </p:sldMasterIdLst>
  <p:notesMasterIdLst>
    <p:notesMasterId r:id="rId12"/>
  </p:notesMasterIdLst>
  <p:sldIdLst>
    <p:sldId id="310" r:id="rId3"/>
    <p:sldId id="336" r:id="rId4"/>
    <p:sldId id="344" r:id="rId5"/>
    <p:sldId id="378" r:id="rId6"/>
    <p:sldId id="376" r:id="rId7"/>
    <p:sldId id="377" r:id="rId8"/>
    <p:sldId id="374" r:id="rId9"/>
    <p:sldId id="379" r:id="rId10"/>
    <p:sldId id="311" r:id="rId11"/>
  </p:sldIdLst>
  <p:sldSz cx="12192000" cy="6858000"/>
  <p:notesSz cx="6858000" cy="9144000"/>
  <p:custDataLst>
    <p:tags r:id="rId1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B8DADED-8BF0-4F06-B4B7-FE3297705B54}">
  <a:tblStyle styleId="{4B8DADED-8BF0-4F06-B4B7-FE3297705B54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1805B279-2762-406B-89E3-82B650EC0748}" styleName="Table_1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9EFF7"/>
          </a:solidFill>
        </a:fill>
      </a:tcStyle>
    </a:wholeTbl>
    <a:band1H>
      <a:tcTxStyle/>
      <a:tcStyle>
        <a:tcBdr/>
        <a:fill>
          <a:solidFill>
            <a:srgbClr val="D0DEEF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D0DEEF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868"/>
    <p:restoredTop sz="82272" autoAdjust="0"/>
  </p:normalViewPr>
  <p:slideViewPr>
    <p:cSldViewPr snapToGrid="0">
      <p:cViewPr varScale="1">
        <p:scale>
          <a:sx n="71" d="100"/>
          <a:sy n="71" d="100"/>
        </p:scale>
        <p:origin x="1190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b="0" i="0" u="none" strike="noStrike" cap="none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open for extension, but closed for modification</a:t>
            </a:r>
          </a:p>
          <a:p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32494665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自定义版式">
  <p:cSld name="自定义版式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06736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46BAEC-ECBB-064A-AE74-DD4E4D96FC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F9A100-7918-0F48-AA34-0DBE6285CC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274B80-8186-3F4E-A48E-470E69D61F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050ADB-2FFE-8646-A622-DCC7636C6F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F914-E5EE-FB49-9C05-E7A828DED5D4}" type="datetimeFigureOut">
              <a:rPr lang="en-US" smtClean="0"/>
              <a:t>8/16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0365FC-BE5E-FC4C-9DD8-0E1BB7B41C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52B365-0BDE-1243-897C-EEE749015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1591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45AE7D-3604-8646-9851-3748D9D867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EACFF48-4F0C-8348-B7A8-E48E9ED5396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001072-1776-2241-A8CB-7132207DB4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C70061-3687-C24F-B746-6B16251903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F914-E5EE-FB49-9C05-E7A828DED5D4}" type="datetimeFigureOut">
              <a:rPr lang="en-US" smtClean="0"/>
              <a:t>8/16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EE30946-FA1B-B549-9594-C7C93FDCAF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DBDFD39-EE95-8646-9C9B-A6668D72E9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6119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AC40D3-13B6-EC49-9305-6CFC7B34F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AEAB8E6-A6CD-3940-8466-8CEC8E54FF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85C766-34DB-8A40-A69D-8E7887FD8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F914-E5EE-FB49-9C05-E7A828DED5D4}" type="datetimeFigureOut">
              <a:rPr lang="en-US" smtClean="0"/>
              <a:t>8/1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3E7F36-4ECB-F94F-8447-E345172CBE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211E08-CF52-594C-959A-BD6A9F88DD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5981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5FCD2CA-4C53-FA4C-914C-52C395B3F1B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ABFA04D-AF2B-6547-8ACD-6BAD40023C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F8C338-922F-5948-AFE3-26F5A98C4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F914-E5EE-FB49-9C05-E7A828DED5D4}" type="datetimeFigureOut">
              <a:rPr lang="en-US" smtClean="0"/>
              <a:t>8/1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946C4F-3AA7-274E-A5B6-278C1A2860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FA2806-2026-4C48-900C-6A5AC8317D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80627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169B67A-E5EA-4A92-9FC8-AC4B3FCA8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315" y="136525"/>
            <a:ext cx="10515600" cy="8042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E20B8C8-5B12-4486-8254-4B4070AC64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6315" y="1253331"/>
            <a:ext cx="10515600" cy="53584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247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6FD97D-9B80-7349-B2B1-71767F4C1E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D7AF0CC-7895-B24A-8E82-504C8B371E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631819-8205-3549-848D-9E153E3A3E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F914-E5EE-FB49-9C05-E7A828DED5D4}" type="datetimeFigureOut">
              <a:rPr lang="en-US" smtClean="0"/>
              <a:t>8/1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655EF3-7095-CA49-B331-C81E6B0BFC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BE1947-1E4F-614D-85E1-F9AE045AC8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2273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A5535-AB1C-AB46-9F6E-2ACB7697A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38748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9666F6-AD04-6042-ACFE-3A2CF35B39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99248"/>
            <a:ext cx="10515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1ABBC2-1934-0549-A0BB-4AB9AEF64B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F914-E5EE-FB49-9C05-E7A828DED5D4}" type="datetimeFigureOut">
              <a:rPr lang="en-US" smtClean="0"/>
              <a:t>8/1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F48EBC-90B3-F545-9C1E-263AD4BFD2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E582C4-5E62-F14F-9B67-D49DA2649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784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FD3DAF-E020-C540-A72E-6682DD612C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167CFB-B0F1-744F-909E-59F9181F8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A7F257-137F-DC40-AA15-AE103EC84F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F914-E5EE-FB49-9C05-E7A828DED5D4}" type="datetimeFigureOut">
              <a:rPr lang="en-US" smtClean="0"/>
              <a:t>8/1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F9CD92-FA97-B74D-BF27-1404AB3B9A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FA7745-A283-D048-ADFB-17DA514359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9654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02A4A7-30F4-1F4E-9B13-9D2E11750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93C87F-F549-D549-818F-9D15F3BD625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8179B2-BB2E-DA42-8CEC-709474D99C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AFA77C4-1C4A-6A44-AD15-9FDF1B6E5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F914-E5EE-FB49-9C05-E7A828DED5D4}" type="datetimeFigureOut">
              <a:rPr lang="en-US" smtClean="0"/>
              <a:t>8/16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5BDFF01-B592-DF46-8E9E-0102794C29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B6D075-F6D8-9F46-A718-B877410FC0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9451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58A3B-DA61-9348-9CB3-12DE5BAB1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F2ACE2-59F4-B840-9F9A-D485A2E863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5F7EAA3-AD8C-8345-9027-156F3D1A83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3A3E2D-6455-7D4F-B095-E476B6504C2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970CFBB-B24A-AC4C-B177-53B8C0A1CBC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FE0E9FD-0D63-CC40-8F7B-419E37CBD3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F914-E5EE-FB49-9C05-E7A828DED5D4}" type="datetimeFigureOut">
              <a:rPr lang="en-US" smtClean="0"/>
              <a:t>8/16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334ACA3-434D-764D-A1F5-E68AF6342A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56DB07-D9E1-E24D-95FC-145FAF40E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6505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6D39C1-147E-1442-8F3A-4282F7C5F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E7CE232-3654-0340-8A19-F3B21CC855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F914-E5EE-FB49-9C05-E7A828DED5D4}" type="datetimeFigureOut">
              <a:rPr lang="en-US" smtClean="0"/>
              <a:t>8/16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E7FA11-CC58-A245-9CB7-7CDFECD24C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38AF5B-DE67-C146-89AF-AD07BE80A1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2007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057181-16C3-A24A-AE86-06BF50902E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F914-E5EE-FB49-9C05-E7A828DED5D4}" type="datetimeFigureOut">
              <a:rPr lang="en-US" smtClean="0"/>
              <a:t>8/16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B3DCB20-E5D1-7144-8476-1145F9576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32A36E-BCBB-2247-AA00-F6B844C0E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3285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353419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hape 7"/>
          <p:cNvCxnSpPr/>
          <p:nvPr/>
        </p:nvCxnSpPr>
        <p:spPr>
          <a:xfrm>
            <a:off x="-9144" y="1083928"/>
            <a:ext cx="12198096" cy="0"/>
          </a:xfrm>
          <a:prstGeom prst="straightConnector1">
            <a:avLst/>
          </a:prstGeom>
          <a:noFill/>
          <a:ln w="28575" cap="flat" cmpd="sng">
            <a:solidFill>
              <a:srgbClr val="9CC2E5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8" name="Shape 8"/>
          <p:cNvCxnSpPr/>
          <p:nvPr/>
        </p:nvCxnSpPr>
        <p:spPr>
          <a:xfrm>
            <a:off x="-9144" y="1033272"/>
            <a:ext cx="12198096" cy="0"/>
          </a:xfrm>
          <a:prstGeom prst="straightConnector1">
            <a:avLst/>
          </a:prstGeom>
          <a:noFill/>
          <a:ln w="5715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1018953" y="-1"/>
            <a:ext cx="1170000" cy="982617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62" r:id="rId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CBCAD98-ADF9-304E-AEC0-C288B88747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23BCAD-9DC3-4B4E-9041-BB01C8CBDE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0E1949-D20D-EE42-93FC-DE60210476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19F914-E5EE-FB49-9C05-E7A828DED5D4}" type="datetimeFigureOut">
              <a:rPr lang="en-US" smtClean="0"/>
              <a:t>8/1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A45F2C-014A-FA46-95F3-6E0FF530FB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88116B-D240-3541-BBB3-F544057E91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9977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0EA0A89-31AD-744C-A4B2-190F21CF84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117" t="27047" r="18385" b="23626"/>
          <a:stretch/>
        </p:blipFill>
        <p:spPr>
          <a:xfrm>
            <a:off x="10455965" y="357809"/>
            <a:ext cx="1298714" cy="102369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E74B4C6-7764-C240-A11B-C40C9C7605E1}"/>
              </a:ext>
            </a:extLst>
          </p:cNvPr>
          <p:cNvSpPr/>
          <p:nvPr/>
        </p:nvSpPr>
        <p:spPr>
          <a:xfrm>
            <a:off x="4469727" y="3599108"/>
            <a:ext cx="324883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C50001"/>
              </a:buClr>
            </a:pPr>
            <a:r>
              <a:rPr lang="en-US" altLang="zh-CN" sz="3200" dirty="0">
                <a:latin typeface="Arial" panose="020B0604020202020204" pitchFamily="34" charset="0"/>
                <a:ea typeface="STXingkai" charset="-122"/>
                <a:cs typeface="Arial" panose="020B0604020202020204" pitchFamily="34" charset="0"/>
              </a:rPr>
              <a:t>Tan See Youu</a:t>
            </a:r>
            <a:endParaRPr lang="zh-CN" altLang="en-US" sz="3200" dirty="0">
              <a:latin typeface="Arial" panose="020B0604020202020204" pitchFamily="34" charset="0"/>
              <a:ea typeface="STXingkai" charset="-122"/>
              <a:cs typeface="Arial" panose="020B0604020202020204" pitchFamily="34" charset="0"/>
            </a:endParaRPr>
          </a:p>
        </p:txBody>
      </p:sp>
      <p:sp>
        <p:nvSpPr>
          <p:cNvPr id="9" name="标题 1">
            <a:extLst>
              <a:ext uri="{FF2B5EF4-FFF2-40B4-BE49-F238E27FC236}">
                <a16:creationId xmlns:a16="http://schemas.microsoft.com/office/drawing/2014/main" id="{2D0B4630-1FAF-7140-BB46-58D437D46AD1}"/>
              </a:ext>
            </a:extLst>
          </p:cNvPr>
          <p:cNvSpPr txBox="1">
            <a:spLocks/>
          </p:cNvSpPr>
          <p:nvPr/>
        </p:nvSpPr>
        <p:spPr>
          <a:xfrm>
            <a:off x="2302501" y="1740545"/>
            <a:ext cx="7583287" cy="61210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4800" noProof="1">
                <a:latin typeface="Arial" panose="020B0604020202020204" pitchFamily="34" charset="0"/>
                <a:ea typeface="SimHei" charset="-122"/>
                <a:cs typeface="Arial" panose="020B0604020202020204" pitchFamily="34" charset="0"/>
              </a:rPr>
              <a:t>Lesson 3</a:t>
            </a:r>
            <a:endParaRPr lang="zh-CN" altLang="en-US" sz="4800" noProof="1">
              <a:latin typeface="Arial" panose="020B0604020202020204" pitchFamily="34" charset="0"/>
              <a:ea typeface="SimHei" charset="-122"/>
              <a:cs typeface="Arial" panose="020B0604020202020204" pitchFamily="34" charset="0"/>
            </a:endParaRPr>
          </a:p>
        </p:txBody>
      </p:sp>
      <p:sp>
        <p:nvSpPr>
          <p:cNvPr id="10" name="标题 1">
            <a:extLst>
              <a:ext uri="{FF2B5EF4-FFF2-40B4-BE49-F238E27FC236}">
                <a16:creationId xmlns:a16="http://schemas.microsoft.com/office/drawing/2014/main" id="{1B8EBE0C-9B7F-1D46-81AE-F3AE79DA31A9}"/>
              </a:ext>
            </a:extLst>
          </p:cNvPr>
          <p:cNvSpPr txBox="1">
            <a:spLocks/>
          </p:cNvSpPr>
          <p:nvPr/>
        </p:nvSpPr>
        <p:spPr>
          <a:xfrm>
            <a:off x="1286697" y="2987003"/>
            <a:ext cx="9614893" cy="61210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noProof="1">
                <a:latin typeface="Arial" panose="020B0604020202020204" pitchFamily="34" charset="0"/>
                <a:ea typeface="SimHei" charset="-122"/>
                <a:cs typeface="Arial" panose="020B0604020202020204" pitchFamily="34" charset="0"/>
              </a:rPr>
              <a:t>Manage your codes like a LEGO piece – </a:t>
            </a:r>
          </a:p>
          <a:p>
            <a:r>
              <a:rPr lang="en-US" altLang="zh-CN" sz="2800" noProof="1">
                <a:latin typeface="Arial" panose="020B0604020202020204" pitchFamily="34" charset="0"/>
                <a:ea typeface="SimHei" charset="-122"/>
                <a:cs typeface="Arial" panose="020B0604020202020204" pitchFamily="34" charset="0"/>
              </a:rPr>
              <a:t>Object oriented programming and importing of modules</a:t>
            </a:r>
            <a:endParaRPr lang="zh-CN" altLang="en-US" sz="2800" noProof="1">
              <a:latin typeface="Arial" panose="020B0604020202020204" pitchFamily="34" charset="0"/>
              <a:ea typeface="SimHei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59055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>
            <a:extLst>
              <a:ext uri="{FF2B5EF4-FFF2-40B4-BE49-F238E27FC236}">
                <a16:creationId xmlns:a16="http://schemas.microsoft.com/office/drawing/2014/main" id="{7D63761F-CE6F-2D43-A07D-22B3BCA85533}"/>
              </a:ext>
            </a:extLst>
          </p:cNvPr>
          <p:cNvSpPr txBox="1">
            <a:spLocks/>
          </p:cNvSpPr>
          <p:nvPr/>
        </p:nvSpPr>
        <p:spPr>
          <a:xfrm>
            <a:off x="467348" y="259200"/>
            <a:ext cx="8303790" cy="61210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800" noProof="1">
                <a:latin typeface="Arial" panose="020B0604020202020204" pitchFamily="34" charset="0"/>
                <a:ea typeface="SimHei" charset="-122"/>
                <a:cs typeface="Arial" panose="020B0604020202020204" pitchFamily="34" charset="0"/>
              </a:rPr>
              <a:t>What </a:t>
            </a:r>
            <a:r>
              <a:rPr lang="en-SG" altLang="zh-CN" sz="3800" noProof="1">
                <a:latin typeface="Arial" panose="020B0604020202020204" pitchFamily="34" charset="0"/>
                <a:ea typeface="SimHei" charset="-122"/>
                <a:cs typeface="Arial" panose="020B0604020202020204" pitchFamily="34" charset="0"/>
              </a:rPr>
              <a:t>will cover today?</a:t>
            </a:r>
            <a:endParaRPr lang="zh-CN" altLang="en-US" sz="3800" noProof="1">
              <a:latin typeface="Arial" panose="020B0604020202020204" pitchFamily="34" charset="0"/>
              <a:ea typeface="SimHei" charset="-122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DF7ABD9-F38A-4544-8AA8-FB5332692A1E}"/>
              </a:ext>
            </a:extLst>
          </p:cNvPr>
          <p:cNvSpPr/>
          <p:nvPr/>
        </p:nvSpPr>
        <p:spPr>
          <a:xfrm>
            <a:off x="467348" y="1305043"/>
            <a:ext cx="11304442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70C0"/>
              </a:buClr>
              <a:buFont typeface="Wingdings" charset="2"/>
              <a:buChar char="q"/>
            </a:pPr>
            <a:r>
              <a:rPr lang="en-US" altLang="zh-CN" sz="2600" dirty="0">
                <a:latin typeface="Arial" panose="020B0604020202020204" pitchFamily="34" charset="0"/>
                <a:ea typeface="STXinwei" charset="-122"/>
                <a:cs typeface="Arial" panose="020B0604020202020204" pitchFamily="34" charset="0"/>
              </a:rPr>
              <a:t> What is object-oriented programming (OOP)?</a:t>
            </a:r>
          </a:p>
          <a:p>
            <a:pPr marL="285750" indent="-285750">
              <a:buClr>
                <a:srgbClr val="0070C0"/>
              </a:buClr>
              <a:buFont typeface="Wingdings" charset="2"/>
              <a:buChar char="q"/>
            </a:pPr>
            <a:r>
              <a:rPr lang="en-US" altLang="zh-CN" sz="2600" dirty="0">
                <a:latin typeface="Arial" panose="020B0604020202020204" pitchFamily="34" charset="0"/>
                <a:ea typeface="STXinwei" charset="-122"/>
                <a:cs typeface="Arial" panose="020B0604020202020204" pitchFamily="34" charset="0"/>
              </a:rPr>
              <a:t> Introduction to Python modules and packages</a:t>
            </a:r>
          </a:p>
          <a:p>
            <a:pPr marL="285750" indent="-285750">
              <a:buClr>
                <a:srgbClr val="0070C0"/>
              </a:buClr>
              <a:buFont typeface="Wingdings" charset="2"/>
              <a:buChar char="q"/>
            </a:pPr>
            <a:r>
              <a:rPr lang="en-US" altLang="zh-CN" sz="2600" dirty="0">
                <a:latin typeface="Arial" panose="020B0604020202020204" pitchFamily="34" charset="0"/>
                <a:ea typeface="STXinwei" charset="-122"/>
                <a:cs typeface="Arial" panose="020B0604020202020204" pitchFamily="34" charset="0"/>
              </a:rPr>
              <a:t> Create python class and object</a:t>
            </a:r>
          </a:p>
          <a:p>
            <a:pPr marL="285750" indent="-285750">
              <a:buClr>
                <a:srgbClr val="0070C0"/>
              </a:buClr>
              <a:buFont typeface="Wingdings" charset="2"/>
              <a:buChar char="q"/>
            </a:pPr>
            <a:r>
              <a:rPr lang="en-US" altLang="zh-CN" sz="2600" dirty="0">
                <a:latin typeface="Arial" panose="020B0604020202020204" pitchFamily="34" charset="0"/>
                <a:ea typeface="STXinwei" charset="-122"/>
                <a:cs typeface="Arial" panose="020B0604020202020204" pitchFamily="34" charset="0"/>
              </a:rPr>
              <a:t> Using object-oriented programming in Python</a:t>
            </a:r>
          </a:p>
          <a:p>
            <a:pPr marL="285750" indent="-285750">
              <a:buClr>
                <a:srgbClr val="0070C0"/>
              </a:buClr>
              <a:buFont typeface="Wingdings" charset="2"/>
              <a:buChar char="q"/>
            </a:pPr>
            <a:r>
              <a:rPr lang="en-US" altLang="zh-CN" sz="2600" dirty="0">
                <a:latin typeface="Arial" panose="020B0604020202020204" pitchFamily="34" charset="0"/>
                <a:ea typeface="STXinwei" charset="-122"/>
                <a:cs typeface="Arial" panose="020B0604020202020204" pitchFamily="34" charset="0"/>
              </a:rPr>
              <a:t> Using common Python modules</a:t>
            </a:r>
          </a:p>
        </p:txBody>
      </p:sp>
    </p:spTree>
    <p:extLst>
      <p:ext uri="{BB962C8B-B14F-4D97-AF65-F5344CB8AC3E}">
        <p14:creationId xmlns:p14="http://schemas.microsoft.com/office/powerpoint/2010/main" val="40904772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7B2A235-BAE1-4DBA-B0AE-4E6D30AC98F8}"/>
              </a:ext>
            </a:extLst>
          </p:cNvPr>
          <p:cNvSpPr txBox="1">
            <a:spLocks/>
          </p:cNvSpPr>
          <p:nvPr/>
        </p:nvSpPr>
        <p:spPr>
          <a:xfrm>
            <a:off x="467348" y="259200"/>
            <a:ext cx="8303790" cy="61210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800" noProof="1">
                <a:latin typeface="Arial" panose="020B0604020202020204" pitchFamily="34" charset="0"/>
                <a:ea typeface="SimHei" charset="-122"/>
                <a:cs typeface="Arial" panose="020B0604020202020204" pitchFamily="34" charset="0"/>
              </a:rPr>
              <a:t>What is Object-oriented Programming?</a:t>
            </a:r>
            <a:endParaRPr lang="zh-CN" altLang="en-US" sz="3800" noProof="1">
              <a:latin typeface="Arial" panose="020B0604020202020204" pitchFamily="34" charset="0"/>
              <a:ea typeface="SimHei" charset="-122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DFE648F-091B-44BB-B536-1C6D5F3B759A}"/>
              </a:ext>
            </a:extLst>
          </p:cNvPr>
          <p:cNvSpPr/>
          <p:nvPr/>
        </p:nvSpPr>
        <p:spPr>
          <a:xfrm>
            <a:off x="467348" y="1305043"/>
            <a:ext cx="11304442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3200" dirty="0"/>
              <a:t>It is a programming paradigm which provides a means of structuring programs so that properties and behaviors are bundled into individual objects.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3200" dirty="0"/>
              <a:t>Multiple functions with similar or related properties grouped together, it constructed a class template which can instantiate an object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3200" dirty="0"/>
              <a:t>Calling of functions are using a method belongs to an object</a:t>
            </a:r>
          </a:p>
        </p:txBody>
      </p:sp>
    </p:spTree>
    <p:extLst>
      <p:ext uri="{BB962C8B-B14F-4D97-AF65-F5344CB8AC3E}">
        <p14:creationId xmlns:p14="http://schemas.microsoft.com/office/powerpoint/2010/main" val="12663982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7B2A235-BAE1-4DBA-B0AE-4E6D30AC98F8}"/>
              </a:ext>
            </a:extLst>
          </p:cNvPr>
          <p:cNvSpPr txBox="1">
            <a:spLocks/>
          </p:cNvSpPr>
          <p:nvPr/>
        </p:nvSpPr>
        <p:spPr>
          <a:xfrm>
            <a:off x="467348" y="259200"/>
            <a:ext cx="8303790" cy="61210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800" noProof="1">
                <a:latin typeface="Arial" panose="020B0604020202020204" pitchFamily="34" charset="0"/>
                <a:ea typeface="SimHei" charset="-122"/>
                <a:cs typeface="Arial" panose="020B0604020202020204" pitchFamily="34" charset="0"/>
              </a:rPr>
              <a:t>SOLID Principles</a:t>
            </a:r>
            <a:endParaRPr lang="zh-CN" altLang="en-US" sz="3800" noProof="1">
              <a:latin typeface="Arial" panose="020B0604020202020204" pitchFamily="34" charset="0"/>
              <a:ea typeface="SimHei" charset="-122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DFE648F-091B-44BB-B536-1C6D5F3B759A}"/>
              </a:ext>
            </a:extLst>
          </p:cNvPr>
          <p:cNvSpPr/>
          <p:nvPr/>
        </p:nvSpPr>
        <p:spPr>
          <a:xfrm>
            <a:off x="467348" y="1164134"/>
            <a:ext cx="11304442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800" dirty="0"/>
              <a:t>Single responsibility principle - each class is responsible for only one thing.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800" dirty="0"/>
              <a:t>Open/Close principle - open for extension, but closed for modification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800" dirty="0"/>
              <a:t> </a:t>
            </a:r>
            <a:r>
              <a:rPr lang="en-US" sz="2800" dirty="0" err="1"/>
              <a:t>Liskov</a:t>
            </a:r>
            <a:r>
              <a:rPr lang="en-US" sz="2800" dirty="0"/>
              <a:t> Substitution Principle - Objects in a program should be replaceable with instances of their base types without altering the correctness of that program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800" dirty="0"/>
              <a:t>Interface Segregation Principle - Many client-specific interfaces are better than one general-purpose interface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800" dirty="0"/>
              <a:t>Dependency Inversion Principle </a:t>
            </a:r>
            <a:r>
              <a:rPr lang="en-US" altLang="zh-CN" sz="2800" dirty="0"/>
              <a:t>- High-level modules should not depend on low-level modules. Both should depend on abstractions.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9539954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7B2A235-BAE1-4DBA-B0AE-4E6D30AC98F8}"/>
              </a:ext>
            </a:extLst>
          </p:cNvPr>
          <p:cNvSpPr txBox="1">
            <a:spLocks/>
          </p:cNvSpPr>
          <p:nvPr/>
        </p:nvSpPr>
        <p:spPr>
          <a:xfrm>
            <a:off x="467348" y="259200"/>
            <a:ext cx="8303790" cy="61210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800" noProof="1">
                <a:latin typeface="Arial" panose="020B0604020202020204" pitchFamily="34" charset="0"/>
                <a:ea typeface="SimHei" charset="-122"/>
                <a:cs typeface="Arial" panose="020B0604020202020204" pitchFamily="34" charset="0"/>
              </a:rPr>
              <a:t>What is modules?</a:t>
            </a:r>
            <a:endParaRPr lang="zh-CN" altLang="en-US" sz="3800" noProof="1">
              <a:latin typeface="Arial" panose="020B0604020202020204" pitchFamily="34" charset="0"/>
              <a:ea typeface="SimHei" charset="-122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DFE648F-091B-44BB-B536-1C6D5F3B759A}"/>
              </a:ext>
            </a:extLst>
          </p:cNvPr>
          <p:cNvSpPr/>
          <p:nvPr/>
        </p:nvSpPr>
        <p:spPr>
          <a:xfrm>
            <a:off x="467348" y="1305043"/>
            <a:ext cx="1130444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3200" dirty="0"/>
              <a:t>Modules in Python are simply Python files with a .</a:t>
            </a:r>
            <a:r>
              <a:rPr lang="en-US" sz="3200" dirty="0" err="1"/>
              <a:t>py</a:t>
            </a:r>
            <a:r>
              <a:rPr lang="en-US" sz="3200" dirty="0"/>
              <a:t> extension. 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3200" dirty="0"/>
              <a:t>The name of the module will be the name of the file. 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3200" dirty="0"/>
              <a:t>A Python module can have a set of functions, classes or variables defined and implemented.</a:t>
            </a:r>
          </a:p>
        </p:txBody>
      </p:sp>
    </p:spTree>
    <p:extLst>
      <p:ext uri="{BB962C8B-B14F-4D97-AF65-F5344CB8AC3E}">
        <p14:creationId xmlns:p14="http://schemas.microsoft.com/office/powerpoint/2010/main" val="28152077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7B2A235-BAE1-4DBA-B0AE-4E6D30AC98F8}"/>
              </a:ext>
            </a:extLst>
          </p:cNvPr>
          <p:cNvSpPr txBox="1">
            <a:spLocks/>
          </p:cNvSpPr>
          <p:nvPr/>
        </p:nvSpPr>
        <p:spPr>
          <a:xfrm>
            <a:off x="467348" y="259200"/>
            <a:ext cx="8303790" cy="61210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800" noProof="1">
                <a:latin typeface="Arial" panose="020B0604020202020204" pitchFamily="34" charset="0"/>
                <a:ea typeface="SimHei" charset="-122"/>
                <a:cs typeface="Arial" panose="020B0604020202020204" pitchFamily="34" charset="0"/>
              </a:rPr>
              <a:t>What is package?</a:t>
            </a:r>
            <a:endParaRPr lang="zh-CN" altLang="en-US" sz="3800" noProof="1">
              <a:latin typeface="Arial" panose="020B0604020202020204" pitchFamily="34" charset="0"/>
              <a:ea typeface="SimHei" charset="-122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DFE648F-091B-44BB-B536-1C6D5F3B759A}"/>
              </a:ext>
            </a:extLst>
          </p:cNvPr>
          <p:cNvSpPr/>
          <p:nvPr/>
        </p:nvSpPr>
        <p:spPr>
          <a:xfrm>
            <a:off x="467348" y="1089600"/>
            <a:ext cx="11304442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800" dirty="0"/>
              <a:t>Packages are namespaces which contain multiple packages and modules themselves. They are simply directories, but with a twist.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800" dirty="0"/>
              <a:t>Each package in Python is a directory which MUST contain a special file called __init__.py. This file can be empty, and it indicates that the directory it contains is a Python package, so it can be imported the same way a module can be imported.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800" dirty="0"/>
              <a:t>Python has some general packages for us to use such as sys, </a:t>
            </a:r>
            <a:r>
              <a:rPr lang="en-US" sz="2800" dirty="0" err="1"/>
              <a:t>os</a:t>
            </a:r>
            <a:r>
              <a:rPr lang="en-US" sz="2800" dirty="0"/>
              <a:t>. We may also create our own packages or share it on python community. 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800" dirty="0"/>
              <a:t>Pip tool allow us to install packages published on </a:t>
            </a:r>
            <a:r>
              <a:rPr lang="en-US" sz="2800" dirty="0" err="1"/>
              <a:t>PyPI</a:t>
            </a:r>
            <a:endParaRPr lang="en-US" sz="2800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E004C13-5E96-478F-8AFF-4726A2E2B202}"/>
              </a:ext>
            </a:extLst>
          </p:cNvPr>
          <p:cNvSpPr/>
          <p:nvPr/>
        </p:nvSpPr>
        <p:spPr>
          <a:xfrm>
            <a:off x="4453631" y="5709100"/>
            <a:ext cx="3284738" cy="8638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G" dirty="0"/>
              <a:t>Let’s see demo</a:t>
            </a:r>
          </a:p>
        </p:txBody>
      </p:sp>
    </p:spTree>
    <p:extLst>
      <p:ext uri="{BB962C8B-B14F-4D97-AF65-F5344CB8AC3E}">
        <p14:creationId xmlns:p14="http://schemas.microsoft.com/office/powerpoint/2010/main" val="29852421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846FE55-C293-41DE-8639-221C97574B3B}"/>
              </a:ext>
            </a:extLst>
          </p:cNvPr>
          <p:cNvSpPr txBox="1">
            <a:spLocks/>
          </p:cNvSpPr>
          <p:nvPr/>
        </p:nvSpPr>
        <p:spPr>
          <a:xfrm>
            <a:off x="467348" y="259200"/>
            <a:ext cx="8303790" cy="61210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800" noProof="1">
                <a:latin typeface="Arial" panose="020B0604020202020204" pitchFamily="34" charset="0"/>
                <a:ea typeface="SimHei" charset="-122"/>
                <a:cs typeface="Arial" panose="020B0604020202020204" pitchFamily="34" charset="0"/>
              </a:rPr>
              <a:t>Hands-on exercise: Robo Advisor</a:t>
            </a:r>
            <a:endParaRPr lang="zh-CN" altLang="en-US" sz="3800" noProof="1">
              <a:latin typeface="Arial" panose="020B0604020202020204" pitchFamily="34" charset="0"/>
              <a:ea typeface="SimHei" charset="-122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FA05222-4085-45E4-955D-DD6C5B07ADC5}"/>
              </a:ext>
            </a:extLst>
          </p:cNvPr>
          <p:cNvSpPr txBox="1"/>
          <p:nvPr/>
        </p:nvSpPr>
        <p:spPr>
          <a:xfrm>
            <a:off x="467348" y="1285659"/>
            <a:ext cx="1065637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Create a class called </a:t>
            </a:r>
            <a:r>
              <a:rPr lang="en-US" sz="1600" dirty="0" err="1"/>
              <a:t>RoboAdvisor</a:t>
            </a:r>
            <a:r>
              <a:rPr lang="en-US" sz="1600" dirty="0"/>
              <a:t>, which include the following methods:</a:t>
            </a:r>
            <a:r>
              <a:rPr lang="en-SG" sz="1600" dirty="0" err="1"/>
              <a:t>my_robo.greeting</a:t>
            </a:r>
            <a:r>
              <a:rPr lang="en-SG" sz="1600" dirty="0"/>
              <a:t>(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SG" sz="1600" dirty="0" err="1"/>
              <a:t>my_robo.ask_name</a:t>
            </a:r>
            <a:r>
              <a:rPr lang="en-SG" sz="1600" dirty="0"/>
              <a:t>(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SG" sz="1600" dirty="0" err="1"/>
              <a:t>my_robo.get_net_income</a:t>
            </a:r>
            <a:r>
              <a:rPr lang="en-SG" sz="1600" dirty="0"/>
              <a:t>() : get annual income – annual expens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SG" sz="1600" dirty="0" err="1"/>
              <a:t>my_robo.get_children</a:t>
            </a:r>
            <a:r>
              <a:rPr lang="en-SG" sz="1600" dirty="0"/>
              <a:t>(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SG" sz="1600" dirty="0" err="1"/>
              <a:t>my_robo.display_recommended_portfolio</a:t>
            </a:r>
            <a:r>
              <a:rPr lang="en-SG" sz="1600" dirty="0"/>
              <a:t>() --Suggestion: to suggest a suitable investment product to us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SG" sz="1600" dirty="0" err="1"/>
              <a:t>my_robo.get_investible_amt</a:t>
            </a:r>
            <a:r>
              <a:rPr lang="en-SG" sz="1600" dirty="0"/>
              <a:t>() : asking for investible amoun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SG" sz="1600" dirty="0" err="1"/>
              <a:t>my_robo.calculate_projected_return</a:t>
            </a:r>
            <a:r>
              <a:rPr lang="en-SG" sz="1600" dirty="0"/>
              <a:t>(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SG" sz="1600" dirty="0" err="1"/>
              <a:t>my_robo.display_chart</a:t>
            </a:r>
            <a:r>
              <a:rPr lang="en-SG" sz="1600" dirty="0"/>
              <a:t>(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SG" sz="1600" dirty="0"/>
          </a:p>
          <a:p>
            <a:r>
              <a:rPr lang="en-SG" sz="1600" dirty="0"/>
              <a:t>Class variables:</a:t>
            </a:r>
          </a:p>
          <a:p>
            <a:pPr marL="457200" lvl="2" indent="-457200">
              <a:buFont typeface="Arial" panose="020B0604020202020204" pitchFamily="34" charset="0"/>
              <a:buChar char="•"/>
            </a:pPr>
            <a:r>
              <a:rPr lang="en-SG" sz="1600" dirty="0"/>
              <a:t>Annual income</a:t>
            </a:r>
          </a:p>
          <a:p>
            <a:pPr marL="457200" lvl="2" indent="-457200">
              <a:buFont typeface="Arial" panose="020B0604020202020204" pitchFamily="34" charset="0"/>
              <a:buChar char="•"/>
            </a:pPr>
            <a:r>
              <a:rPr lang="en-SG" sz="1600" dirty="0"/>
              <a:t>Annual expenses</a:t>
            </a:r>
          </a:p>
          <a:p>
            <a:pPr marL="457200" lvl="2" indent="-457200">
              <a:buFont typeface="Arial" panose="020B0604020202020204" pitchFamily="34" charset="0"/>
              <a:buChar char="•"/>
            </a:pPr>
            <a:r>
              <a:rPr lang="en-SG" sz="1600" dirty="0"/>
              <a:t>Risk Score</a:t>
            </a:r>
          </a:p>
          <a:p>
            <a:pPr marL="457200" lvl="2" indent="-457200">
              <a:buFont typeface="Arial" panose="020B0604020202020204" pitchFamily="34" charset="0"/>
              <a:buChar char="•"/>
            </a:pPr>
            <a:r>
              <a:rPr lang="en-SG" sz="1600" dirty="0"/>
              <a:t>Projected return list</a:t>
            </a:r>
          </a:p>
          <a:p>
            <a:pPr marL="457200" lvl="2" indent="-457200">
              <a:buFont typeface="Arial" panose="020B0604020202020204" pitchFamily="34" charset="0"/>
              <a:buChar char="•"/>
            </a:pPr>
            <a:r>
              <a:rPr lang="en-SG" sz="1600" dirty="0"/>
              <a:t>Number of children</a:t>
            </a:r>
          </a:p>
        </p:txBody>
      </p:sp>
    </p:spTree>
    <p:extLst>
      <p:ext uri="{BB962C8B-B14F-4D97-AF65-F5344CB8AC3E}">
        <p14:creationId xmlns:p14="http://schemas.microsoft.com/office/powerpoint/2010/main" val="11249579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846FE55-C293-41DE-8639-221C97574B3B}"/>
              </a:ext>
            </a:extLst>
          </p:cNvPr>
          <p:cNvSpPr txBox="1">
            <a:spLocks/>
          </p:cNvSpPr>
          <p:nvPr/>
        </p:nvSpPr>
        <p:spPr>
          <a:xfrm>
            <a:off x="467348" y="259200"/>
            <a:ext cx="8303790" cy="61210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800" noProof="1">
                <a:latin typeface="Arial" panose="020B0604020202020204" pitchFamily="34" charset="0"/>
                <a:ea typeface="SimHei" charset="-122"/>
                <a:cs typeface="Arial" panose="020B0604020202020204" pitchFamily="34" charset="0"/>
              </a:rPr>
              <a:t>Hands-on exercise - appendix</a:t>
            </a:r>
            <a:endParaRPr lang="zh-CN" altLang="en-US" sz="3800" noProof="1">
              <a:latin typeface="Arial" panose="020B0604020202020204" pitchFamily="34" charset="0"/>
              <a:ea typeface="SimHei" charset="-122"/>
              <a:cs typeface="Arial" panose="020B0604020202020204" pitchFamily="34" charset="0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C126935-043B-4466-BDD3-9DFC7369A9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8166570"/>
              </p:ext>
            </p:extLst>
          </p:nvPr>
        </p:nvGraphicFramePr>
        <p:xfrm>
          <a:off x="2032000" y="1272076"/>
          <a:ext cx="8127999" cy="2595880"/>
        </p:xfrm>
        <a:graphic>
          <a:graphicData uri="http://schemas.openxmlformats.org/drawingml/2006/table">
            <a:tbl>
              <a:tblPr firstRow="1" bandRow="1">
                <a:tableStyleId>{1805B279-2762-406B-89E3-82B650EC0748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17857975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44953468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17681375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SG" dirty="0"/>
                        <a:t>Criter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Cond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outpu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82446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dirty="0"/>
                        <a:t>Net inco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&gt;100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Risk score = 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31736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S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&gt; 10000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Risk score = 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2502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S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&gt; 1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Risk score =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7538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dirty="0"/>
                        <a:t>No of child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&gt;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Risk score * 0.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3162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S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&gt;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Risk score * 0.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32137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S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&gt;=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Risk score * 0.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4525219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0926463-24AA-4D3A-A4B6-44A749539C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7650592"/>
              </p:ext>
            </p:extLst>
          </p:nvPr>
        </p:nvGraphicFramePr>
        <p:xfrm>
          <a:off x="2031999" y="4268727"/>
          <a:ext cx="8127999" cy="1854200"/>
        </p:xfrm>
        <a:graphic>
          <a:graphicData uri="http://schemas.openxmlformats.org/drawingml/2006/table">
            <a:tbl>
              <a:tblPr firstRow="1" bandRow="1">
                <a:tableStyleId>{1805B279-2762-406B-89E3-82B650EC0748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434700437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3915201205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81616631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SG" dirty="0"/>
                        <a:t>investment produ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Expected  annual retur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Recommend if risk sco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79614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dirty="0"/>
                        <a:t>Product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5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&gt;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14021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dirty="0"/>
                        <a:t>Product 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&gt;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12258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dirty="0"/>
                        <a:t>Product 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&gt;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30187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SG" dirty="0"/>
                        <a:t>Product 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1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&gt;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02144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24327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>
            <a:extLst>
              <a:ext uri="{FF2B5EF4-FFF2-40B4-BE49-F238E27FC236}">
                <a16:creationId xmlns:a16="http://schemas.microsoft.com/office/drawing/2014/main" id="{7D63761F-CE6F-2D43-A07D-22B3BCA85533}"/>
              </a:ext>
            </a:extLst>
          </p:cNvPr>
          <p:cNvSpPr txBox="1">
            <a:spLocks/>
          </p:cNvSpPr>
          <p:nvPr/>
        </p:nvSpPr>
        <p:spPr>
          <a:xfrm>
            <a:off x="467348" y="259200"/>
            <a:ext cx="6152114" cy="61210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800" noProof="1">
                <a:latin typeface="Arial" panose="020B0604020202020204" pitchFamily="34" charset="0"/>
                <a:ea typeface="SimHei" charset="-122"/>
                <a:cs typeface="Arial" panose="020B0604020202020204" pitchFamily="34" charset="0"/>
              </a:rPr>
              <a:t>Thank You</a:t>
            </a:r>
            <a:endParaRPr lang="zh-CN" altLang="en-US" sz="3800" noProof="1">
              <a:latin typeface="Arial" panose="020B0604020202020204" pitchFamily="34" charset="0"/>
              <a:ea typeface="SimHei" charset="-122"/>
              <a:cs typeface="Arial" panose="020B0604020202020204" pitchFamily="34" charset="0"/>
            </a:endParaRP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199FD951-5F31-1941-B9F7-603E66EC9F24}"/>
              </a:ext>
            </a:extLst>
          </p:cNvPr>
          <p:cNvSpPr txBox="1">
            <a:spLocks/>
          </p:cNvSpPr>
          <p:nvPr/>
        </p:nvSpPr>
        <p:spPr>
          <a:xfrm>
            <a:off x="3698644" y="2544071"/>
            <a:ext cx="4572031" cy="138499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3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Q&amp;A</a:t>
            </a:r>
          </a:p>
        </p:txBody>
      </p:sp>
      <p:pic>
        <p:nvPicPr>
          <p:cNvPr id="9" name="Picture 8" descr="D:\Slidework\Jobs\TechEd2007 - Brian Marble\Template\Design\Round 3\images\Hand.png">
            <a:extLst>
              <a:ext uri="{FF2B5EF4-FFF2-40B4-BE49-F238E27FC236}">
                <a16:creationId xmlns:a16="http://schemas.microsoft.com/office/drawing/2014/main" id="{C6EF0B8E-A1D7-184A-9033-A8C6E2AAC7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413023" y="2428868"/>
            <a:ext cx="663575" cy="51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089174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自定义设计方案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gularization" id="{EBBC5E59-E9BF-3F4D-B3E2-FAC4D64E879B}" vid="{3002D087-D1D3-9F43-9566-1FC3E3A8CD64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自定义设计方案</Template>
  <TotalTime>35087</TotalTime>
  <Words>586</Words>
  <Application>Microsoft Office PowerPoint</Application>
  <PresentationFormat>Widescreen</PresentationFormat>
  <Paragraphs>82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Calibri Light</vt:lpstr>
      <vt:lpstr>Wingdings</vt:lpstr>
      <vt:lpstr>自定义设计方案</vt:lpstr>
      <vt:lpstr>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p0246</dc:creator>
  <cp:lastModifiedBy>tan see youu</cp:lastModifiedBy>
  <cp:revision>256</cp:revision>
  <cp:lastPrinted>2018-03-11T04:33:43Z</cp:lastPrinted>
  <dcterms:created xsi:type="dcterms:W3CDTF">2018-11-29T16:14:48Z</dcterms:created>
  <dcterms:modified xsi:type="dcterms:W3CDTF">2019-08-17T04:25:14Z</dcterms:modified>
</cp:coreProperties>
</file>